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B315E6-0C95-4856-97BC-357069CCFCD4}" v="267" dt="2022-07-27T12:52:57.32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44" y="7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24B315E6-0C95-4856-97BC-357069CCFCD4}"/>
    <pc:docChg chg="undo custSel modSld">
      <pc:chgData name="Kümmerle, Markus" userId="edb588ad-b118-44cb-93b6-335b967c9009" providerId="ADAL" clId="{24B315E6-0C95-4856-97BC-357069CCFCD4}" dt="2022-07-27T12:52:51.643" v="514" actId="20577"/>
      <pc:docMkLst>
        <pc:docMk/>
      </pc:docMkLst>
      <pc:sldChg chg="addSp delSp modSp mod">
        <pc:chgData name="Kümmerle, Markus" userId="edb588ad-b118-44cb-93b6-335b967c9009" providerId="ADAL" clId="{24B315E6-0C95-4856-97BC-357069CCFCD4}" dt="2022-07-27T12:52:51.643" v="514" actId="20577"/>
        <pc:sldMkLst>
          <pc:docMk/>
          <pc:sldMk cId="1078392102" sldId="476"/>
        </pc:sldMkLst>
        <pc:spChg chg="mod">
          <ac:chgData name="Kümmerle, Markus" userId="edb588ad-b118-44cb-93b6-335b967c9009" providerId="ADAL" clId="{24B315E6-0C95-4856-97BC-357069CCFCD4}" dt="2022-07-27T12:52:51.643" v="514" actId="20577"/>
          <ac:spMkLst>
            <pc:docMk/>
            <pc:sldMk cId="1078392102" sldId="476"/>
            <ac:spMk id="2" creationId="{CD5275E9-6057-4486-B63F-567ED92B7275}"/>
          </ac:spMkLst>
        </pc:spChg>
        <pc:picChg chg="mod">
          <ac:chgData name="Kümmerle, Markus" userId="edb588ad-b118-44cb-93b6-335b967c9009" providerId="ADAL" clId="{24B315E6-0C95-4856-97BC-357069CCFCD4}" dt="2022-07-13T11:54:24.404" v="250" actId="408"/>
          <ac:picMkLst>
            <pc:docMk/>
            <pc:sldMk cId="1078392102" sldId="476"/>
            <ac:picMk id="5" creationId="{2F5A3DE1-64B6-4EDF-8581-AC4866695EFC}"/>
          </ac:picMkLst>
        </pc:picChg>
        <pc:picChg chg="mod">
          <ac:chgData name="Kümmerle, Markus" userId="edb588ad-b118-44cb-93b6-335b967c9009" providerId="ADAL" clId="{24B315E6-0C95-4856-97BC-357069CCFCD4}" dt="2022-07-27T12:44:52.518" v="367" actId="12789"/>
          <ac:picMkLst>
            <pc:docMk/>
            <pc:sldMk cId="1078392102" sldId="476"/>
            <ac:picMk id="6" creationId="{0FF0977A-195B-4666-81D1-169F6FA80357}"/>
          </ac:picMkLst>
        </pc:picChg>
        <pc:picChg chg="mod">
          <ac:chgData name="Kümmerle, Markus" userId="edb588ad-b118-44cb-93b6-335b967c9009" providerId="ADAL" clId="{24B315E6-0C95-4856-97BC-357069CCFCD4}" dt="2022-07-13T11:55:54.724" v="314" actId="1037"/>
          <ac:picMkLst>
            <pc:docMk/>
            <pc:sldMk cId="1078392102" sldId="476"/>
            <ac:picMk id="7" creationId="{037C97D1-DFA5-489E-80E0-5896E2B9919E}"/>
          </ac:picMkLst>
        </pc:picChg>
        <pc:picChg chg="add mod">
          <ac:chgData name="Kümmerle, Markus" userId="edb588ad-b118-44cb-93b6-335b967c9009" providerId="ADAL" clId="{24B315E6-0C95-4856-97BC-357069CCFCD4}" dt="2022-07-13T11:49:48.222" v="127" actId="1038"/>
          <ac:picMkLst>
            <pc:docMk/>
            <pc:sldMk cId="1078392102" sldId="476"/>
            <ac:picMk id="8" creationId="{57028D8E-9C3A-470E-B249-0D059513EEE2}"/>
          </ac:picMkLst>
        </pc:picChg>
        <pc:picChg chg="mod">
          <ac:chgData name="Kümmerle, Markus" userId="edb588ad-b118-44cb-93b6-335b967c9009" providerId="ADAL" clId="{24B315E6-0C95-4856-97BC-357069CCFCD4}" dt="2022-07-27T12:44:52.518" v="367" actId="12789"/>
          <ac:picMkLst>
            <pc:docMk/>
            <pc:sldMk cId="1078392102" sldId="476"/>
            <ac:picMk id="27" creationId="{030DB03A-0895-4112-8649-533038B3969B}"/>
          </ac:picMkLst>
        </pc:picChg>
        <pc:picChg chg="mod">
          <ac:chgData name="Kümmerle, Markus" userId="edb588ad-b118-44cb-93b6-335b967c9009" providerId="ADAL" clId="{24B315E6-0C95-4856-97BC-357069CCFCD4}" dt="2022-07-13T11:54:24.404" v="250" actId="408"/>
          <ac:picMkLst>
            <pc:docMk/>
            <pc:sldMk cId="1078392102" sldId="476"/>
            <ac:picMk id="28" creationId="{8B276BBC-836F-405C-9B33-8C9BF24C2E9F}"/>
          </ac:picMkLst>
        </pc:picChg>
        <pc:picChg chg="del mod">
          <ac:chgData name="Kümmerle, Markus" userId="edb588ad-b118-44cb-93b6-335b967c9009" providerId="ADAL" clId="{24B315E6-0C95-4856-97BC-357069CCFCD4}" dt="2022-07-27T12:45:41.386" v="465" actId="478"/>
          <ac:picMkLst>
            <pc:docMk/>
            <pc:sldMk cId="1078392102" sldId="476"/>
            <ac:picMk id="30" creationId="{61C595F0-9A4D-48E4-B3A2-6653BB86E25F}"/>
          </ac:picMkLst>
        </pc:picChg>
        <pc:picChg chg="mod">
          <ac:chgData name="Kümmerle, Markus" userId="edb588ad-b118-44cb-93b6-335b967c9009" providerId="ADAL" clId="{24B315E6-0C95-4856-97BC-357069CCFCD4}" dt="2022-07-13T11:55:34.165" v="259" actId="12789"/>
          <ac:picMkLst>
            <pc:docMk/>
            <pc:sldMk cId="1078392102" sldId="476"/>
            <ac:picMk id="31" creationId="{D14A0942-DB49-46E4-A71B-792A5725144A}"/>
          </ac:picMkLst>
        </pc:picChg>
        <pc:picChg chg="mod">
          <ac:chgData name="Kümmerle, Markus" userId="edb588ad-b118-44cb-93b6-335b967c9009" providerId="ADAL" clId="{24B315E6-0C95-4856-97BC-357069CCFCD4}" dt="2022-07-13T11:49:32.880" v="75" actId="1038"/>
          <ac:picMkLst>
            <pc:docMk/>
            <pc:sldMk cId="1078392102" sldId="476"/>
            <ac:picMk id="32" creationId="{16A901F4-0D14-4D96-B942-5CC14F12C906}"/>
          </ac:picMkLst>
        </pc:picChg>
        <pc:picChg chg="mod">
          <ac:chgData name="Kümmerle, Markus" userId="edb588ad-b118-44cb-93b6-335b967c9009" providerId="ADAL" clId="{24B315E6-0C95-4856-97BC-357069CCFCD4}" dt="2022-07-27T12:47:16.795" v="474" actId="12789"/>
          <ac:picMkLst>
            <pc:docMk/>
            <pc:sldMk cId="1078392102" sldId="476"/>
            <ac:picMk id="33" creationId="{486EB116-62CB-4834-9944-24A1A0456211}"/>
          </ac:picMkLst>
        </pc:picChg>
        <pc:picChg chg="mod">
          <ac:chgData name="Kümmerle, Markus" userId="edb588ad-b118-44cb-93b6-335b967c9009" providerId="ADAL" clId="{24B315E6-0C95-4856-97BC-357069CCFCD4}" dt="2022-07-13T11:49:14.879" v="29" actId="12789"/>
          <ac:picMkLst>
            <pc:docMk/>
            <pc:sldMk cId="1078392102" sldId="476"/>
            <ac:picMk id="34" creationId="{DCB7F2B5-189B-4BA7-99C8-9E4F3740C3BA}"/>
          </ac:picMkLst>
        </pc:picChg>
        <pc:picChg chg="mod">
          <ac:chgData name="Kümmerle, Markus" userId="edb588ad-b118-44cb-93b6-335b967c9009" providerId="ADAL" clId="{24B315E6-0C95-4856-97BC-357069CCFCD4}" dt="2022-07-13T11:54:24.404" v="250" actId="408"/>
          <ac:picMkLst>
            <pc:docMk/>
            <pc:sldMk cId="1078392102" sldId="476"/>
            <ac:picMk id="36" creationId="{DBAD3A9A-2A63-437C-B025-FE1C8BE8FFA3}"/>
          </ac:picMkLst>
        </pc:picChg>
        <pc:picChg chg="mod">
          <ac:chgData name="Kümmerle, Markus" userId="edb588ad-b118-44cb-93b6-335b967c9009" providerId="ADAL" clId="{24B315E6-0C95-4856-97BC-357069CCFCD4}" dt="2022-07-27T12:47:16.795" v="474" actId="12789"/>
          <ac:picMkLst>
            <pc:docMk/>
            <pc:sldMk cId="1078392102" sldId="476"/>
            <ac:picMk id="37" creationId="{A8CBB58E-56D5-4A2C-AAE1-C8B9F0D4E0E4}"/>
          </ac:picMkLst>
        </pc:picChg>
        <pc:picChg chg="mod">
          <ac:chgData name="Kümmerle, Markus" userId="edb588ad-b118-44cb-93b6-335b967c9009" providerId="ADAL" clId="{24B315E6-0C95-4856-97BC-357069CCFCD4}" dt="2022-07-13T11:54:24.404" v="250" actId="408"/>
          <ac:picMkLst>
            <pc:docMk/>
            <pc:sldMk cId="1078392102" sldId="476"/>
            <ac:picMk id="38" creationId="{06527CBD-70B8-40FB-8885-0CB8742CD665}"/>
          </ac:picMkLst>
        </pc:picChg>
        <pc:picChg chg="mod">
          <ac:chgData name="Kümmerle, Markus" userId="edb588ad-b118-44cb-93b6-335b967c9009" providerId="ADAL" clId="{24B315E6-0C95-4856-97BC-357069CCFCD4}" dt="2022-07-27T12:44:52.518" v="367" actId="12789"/>
          <ac:picMkLst>
            <pc:docMk/>
            <pc:sldMk cId="1078392102" sldId="476"/>
            <ac:picMk id="39" creationId="{086B781B-9E16-4A8C-A2EA-DE2643B8D61D}"/>
          </ac:picMkLst>
        </pc:picChg>
        <pc:picChg chg="mod">
          <ac:chgData name="Kümmerle, Markus" userId="edb588ad-b118-44cb-93b6-335b967c9009" providerId="ADAL" clId="{24B315E6-0C95-4856-97BC-357069CCFCD4}" dt="2022-07-13T11:55:50.859" v="290" actId="1037"/>
          <ac:picMkLst>
            <pc:docMk/>
            <pc:sldMk cId="1078392102" sldId="476"/>
            <ac:picMk id="40" creationId="{4B8C509A-D63A-450A-A9CE-A73D6E118BC6}"/>
          </ac:picMkLst>
        </pc:picChg>
        <pc:picChg chg="mod">
          <ac:chgData name="Kümmerle, Markus" userId="edb588ad-b118-44cb-93b6-335b967c9009" providerId="ADAL" clId="{24B315E6-0C95-4856-97BC-357069CCFCD4}" dt="2022-07-13T11:56:04.759" v="354" actId="1038"/>
          <ac:picMkLst>
            <pc:docMk/>
            <pc:sldMk cId="1078392102" sldId="476"/>
            <ac:picMk id="41" creationId="{695FF3A2-599C-4625-A27E-2B781C9B0479}"/>
          </ac:picMkLst>
        </pc:picChg>
        <pc:picChg chg="mod">
          <ac:chgData name="Kümmerle, Markus" userId="edb588ad-b118-44cb-93b6-335b967c9009" providerId="ADAL" clId="{24B315E6-0C95-4856-97BC-357069CCFCD4}" dt="2022-07-13T11:55:59.308" v="336" actId="1037"/>
          <ac:picMkLst>
            <pc:docMk/>
            <pc:sldMk cId="1078392102" sldId="476"/>
            <ac:picMk id="42" creationId="{0253D1F5-D366-4ED2-A1B8-394C1D96A8F2}"/>
          </ac:picMkLst>
        </pc:picChg>
        <pc:picChg chg="mod">
          <ac:chgData name="Kümmerle, Markus" userId="edb588ad-b118-44cb-93b6-335b967c9009" providerId="ADAL" clId="{24B315E6-0C95-4856-97BC-357069CCFCD4}" dt="2022-07-27T12:47:16.795" v="474" actId="12789"/>
          <ac:picMkLst>
            <pc:docMk/>
            <pc:sldMk cId="1078392102" sldId="476"/>
            <ac:picMk id="44" creationId="{329AD4BF-4028-44EA-8861-1DC1066F5473}"/>
          </ac:picMkLst>
        </pc:picChg>
        <pc:picChg chg="mod">
          <ac:chgData name="Kümmerle, Markus" userId="edb588ad-b118-44cb-93b6-335b967c9009" providerId="ADAL" clId="{24B315E6-0C95-4856-97BC-357069CCFCD4}" dt="2022-07-13T11:54:24.404" v="250" actId="408"/>
          <ac:picMkLst>
            <pc:docMk/>
            <pc:sldMk cId="1078392102" sldId="476"/>
            <ac:picMk id="45" creationId="{BA4AB2BA-B416-4BBC-8423-24F69231661B}"/>
          </ac:picMkLst>
        </pc:picChg>
        <pc:picChg chg="mod">
          <ac:chgData name="Kümmerle, Markus" userId="edb588ad-b118-44cb-93b6-335b967c9009" providerId="ADAL" clId="{24B315E6-0C95-4856-97BC-357069CCFCD4}" dt="2022-07-13T11:54:24.404" v="250" actId="408"/>
          <ac:picMkLst>
            <pc:docMk/>
            <pc:sldMk cId="1078392102" sldId="476"/>
            <ac:picMk id="46" creationId="{1AC00ECE-283D-48BB-A90C-2FAE1DE74A97}"/>
          </ac:picMkLst>
        </pc:picChg>
        <pc:picChg chg="mod">
          <ac:chgData name="Kümmerle, Markus" userId="edb588ad-b118-44cb-93b6-335b967c9009" providerId="ADAL" clId="{24B315E6-0C95-4856-97BC-357069CCFCD4}" dt="2022-07-27T12:44:52.518" v="367" actId="12789"/>
          <ac:picMkLst>
            <pc:docMk/>
            <pc:sldMk cId="1078392102" sldId="476"/>
            <ac:picMk id="47" creationId="{9BA122E6-520A-4EEB-BB7E-A1FD8CA99C78}"/>
          </ac:picMkLst>
        </pc:picChg>
        <pc:picChg chg="mod">
          <ac:chgData name="Kümmerle, Markus" userId="edb588ad-b118-44cb-93b6-335b967c9009" providerId="ADAL" clId="{24B315E6-0C95-4856-97BC-357069CCFCD4}" dt="2022-07-27T12:44:52.518" v="367" actId="12789"/>
          <ac:picMkLst>
            <pc:docMk/>
            <pc:sldMk cId="1078392102" sldId="476"/>
            <ac:picMk id="48" creationId="{B19288B2-C708-4040-AF75-49394FC86A02}"/>
          </ac:picMkLst>
        </pc:picChg>
        <pc:picChg chg="mod">
          <ac:chgData name="Kümmerle, Markus" userId="edb588ad-b118-44cb-93b6-335b967c9009" providerId="ADAL" clId="{24B315E6-0C95-4856-97BC-357069CCFCD4}" dt="2022-07-27T12:47:29.433" v="510" actId="1038"/>
          <ac:picMkLst>
            <pc:docMk/>
            <pc:sldMk cId="1078392102" sldId="476"/>
            <ac:picMk id="49" creationId="{9F36EC92-AEDF-4D23-A905-00C7B7C6B194}"/>
          </ac:picMkLst>
        </pc:picChg>
        <pc:picChg chg="mod">
          <ac:chgData name="Kümmerle, Markus" userId="edb588ad-b118-44cb-93b6-335b967c9009" providerId="ADAL" clId="{24B315E6-0C95-4856-97BC-357069CCFCD4}" dt="2022-07-13T11:49:43.176" v="113" actId="1038"/>
          <ac:picMkLst>
            <pc:docMk/>
            <pc:sldMk cId="1078392102" sldId="476"/>
            <ac:picMk id="50" creationId="{0491DD10-E47D-4697-B76B-43536CA5B387}"/>
          </ac:picMkLst>
        </pc:picChg>
        <pc:picChg chg="mod">
          <ac:chgData name="Kümmerle, Markus" userId="edb588ad-b118-44cb-93b6-335b967c9009" providerId="ADAL" clId="{24B315E6-0C95-4856-97BC-357069CCFCD4}" dt="2022-07-13T11:49:38.390" v="94" actId="1038"/>
          <ac:picMkLst>
            <pc:docMk/>
            <pc:sldMk cId="1078392102" sldId="476"/>
            <ac:picMk id="51" creationId="{993657B1-74CC-4A1E-A041-F319E5065F51}"/>
          </ac:picMkLst>
        </pc:picChg>
        <pc:picChg chg="mod">
          <ac:chgData name="Kümmerle, Markus" userId="edb588ad-b118-44cb-93b6-335b967c9009" providerId="ADAL" clId="{24B315E6-0C95-4856-97BC-357069CCFCD4}" dt="2022-07-27T12:44:52.518" v="367" actId="12789"/>
          <ac:picMkLst>
            <pc:docMk/>
            <pc:sldMk cId="1078392102" sldId="476"/>
            <ac:picMk id="52" creationId="{8BF0111A-744C-4F25-8259-575938B47F05}"/>
          </ac:picMkLst>
        </pc:picChg>
        <pc:picChg chg="mod">
          <ac:chgData name="Kümmerle, Markus" userId="edb588ad-b118-44cb-93b6-335b967c9009" providerId="ADAL" clId="{24B315E6-0C95-4856-97BC-357069CCFCD4}" dt="2022-07-13T11:49:29.273" v="58" actId="1038"/>
          <ac:picMkLst>
            <pc:docMk/>
            <pc:sldMk cId="1078392102" sldId="476"/>
            <ac:picMk id="53" creationId="{F773404F-7085-42E8-84B3-80625B7A31CF}"/>
          </ac:picMkLst>
        </pc:picChg>
        <pc:picChg chg="mod">
          <ac:chgData name="Kümmerle, Markus" userId="edb588ad-b118-44cb-93b6-335b967c9009" providerId="ADAL" clId="{24B315E6-0C95-4856-97BC-357069CCFCD4}" dt="2022-07-13T11:49:14.879" v="29" actId="12789"/>
          <ac:picMkLst>
            <pc:docMk/>
            <pc:sldMk cId="1078392102" sldId="476"/>
            <ac:picMk id="54" creationId="{6677E182-5023-4DEC-82E1-C59BC0EF4E3E}"/>
          </ac:picMkLst>
        </pc:picChg>
        <pc:picChg chg="add del mod">
          <ac:chgData name="Kümmerle, Markus" userId="edb588ad-b118-44cb-93b6-335b967c9009" providerId="ADAL" clId="{24B315E6-0C95-4856-97BC-357069CCFCD4}" dt="2022-07-13T11:41:26.743" v="6" actId="21"/>
          <ac:picMkLst>
            <pc:docMk/>
            <pc:sldMk cId="1078392102" sldId="476"/>
            <ac:picMk id="55" creationId="{0F930687-5B12-4607-A12B-97BE97D3EDCF}"/>
          </ac:picMkLst>
        </pc:picChg>
        <pc:picChg chg="add mod">
          <ac:chgData name="Kümmerle, Markus" userId="edb588ad-b118-44cb-93b6-335b967c9009" providerId="ADAL" clId="{24B315E6-0C95-4856-97BC-357069CCFCD4}" dt="2022-07-27T12:47:16.795" v="474" actId="12789"/>
          <ac:picMkLst>
            <pc:docMk/>
            <pc:sldMk cId="1078392102" sldId="476"/>
            <ac:picMk id="55" creationId="{37F213E2-E7FA-47E1-AB99-62DD5CAD107C}"/>
          </ac:picMkLst>
        </pc:picChg>
        <pc:picChg chg="add mod">
          <ac:chgData name="Kümmerle, Markus" userId="edb588ad-b118-44cb-93b6-335b967c9009" providerId="ADAL" clId="{24B315E6-0C95-4856-97BC-357069CCFCD4}" dt="2022-07-27T12:47:25.002" v="495" actId="1038"/>
          <ac:picMkLst>
            <pc:docMk/>
            <pc:sldMk cId="1078392102" sldId="476"/>
            <ac:picMk id="56" creationId="{33143BD9-69CF-46DF-9959-357A92990F1C}"/>
          </ac:picMkLst>
        </pc:picChg>
        <pc:picChg chg="add del mod">
          <ac:chgData name="Kümmerle, Markus" userId="edb588ad-b118-44cb-93b6-335b967c9009" providerId="ADAL" clId="{24B315E6-0C95-4856-97BC-357069CCFCD4}" dt="2022-07-13T11:41:51.074" v="8" actId="478"/>
          <ac:picMkLst>
            <pc:docMk/>
            <pc:sldMk cId="1078392102" sldId="476"/>
            <ac:picMk id="56" creationId="{B1C4EE0C-49B0-4490-81FD-FCB583B82A56}"/>
          </ac:picMkLst>
        </pc:picChg>
        <pc:picChg chg="add mod">
          <ac:chgData name="Kümmerle, Markus" userId="edb588ad-b118-44cb-93b6-335b967c9009" providerId="ADAL" clId="{24B315E6-0C95-4856-97BC-357069CCFCD4}" dt="2022-07-27T12:47:16.795" v="474" actId="12789"/>
          <ac:picMkLst>
            <pc:docMk/>
            <pc:sldMk cId="1078392102" sldId="476"/>
            <ac:picMk id="57" creationId="{16D1BF50-6315-4765-BBAF-E887F958B33D}"/>
          </ac:picMkLst>
        </pc:picChg>
        <pc:picChg chg="add mod">
          <ac:chgData name="Kümmerle, Markus" userId="edb588ad-b118-44cb-93b6-335b967c9009" providerId="ADAL" clId="{24B315E6-0C95-4856-97BC-357069CCFCD4}" dt="2022-07-27T12:44:52.518" v="367" actId="12789"/>
          <ac:picMkLst>
            <pc:docMk/>
            <pc:sldMk cId="1078392102" sldId="476"/>
            <ac:picMk id="58" creationId="{4659AFE2-680A-4CB2-827A-FFD2AD439B23}"/>
          </ac:picMkLst>
        </pc:picChg>
        <pc:picChg chg="add mod">
          <ac:chgData name="Kümmerle, Markus" userId="edb588ad-b118-44cb-93b6-335b967c9009" providerId="ADAL" clId="{24B315E6-0C95-4856-97BC-357069CCFCD4}" dt="2022-07-13T11:54:24.404" v="250" actId="408"/>
          <ac:picMkLst>
            <pc:docMk/>
            <pc:sldMk cId="1078392102" sldId="476"/>
            <ac:picMk id="59" creationId="{089C82E4-78AD-4275-B1B1-AA0A5CA49DAD}"/>
          </ac:picMkLst>
        </pc:picChg>
        <pc:picChg chg="add mod">
          <ac:chgData name="Kümmerle, Markus" userId="edb588ad-b118-44cb-93b6-335b967c9009" providerId="ADAL" clId="{24B315E6-0C95-4856-97BC-357069CCFCD4}" dt="2022-07-13T11:55:34.165" v="259" actId="12789"/>
          <ac:picMkLst>
            <pc:docMk/>
            <pc:sldMk cId="1078392102" sldId="476"/>
            <ac:picMk id="60" creationId="{E9B8CEF0-F6AF-49F4-B63D-6B7A61B9B85F}"/>
          </ac:picMkLst>
        </pc:picChg>
      </pc:sldChg>
    </pc:docChg>
  </pc:docChgLst>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7.07.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9" Type="http://schemas.openxmlformats.org/officeDocument/2006/relationships/image" Target="../media/image36.jpg"/><Relationship Id="rId3" Type="http://schemas.openxmlformats.org/officeDocument/2006/relationships/notesSlide" Target="../notesSlides/notesSlide1.xml"/><Relationship Id="rId21" Type="http://schemas.openxmlformats.org/officeDocument/2006/relationships/image" Target="../media/image18.png"/><Relationship Id="rId34" Type="http://schemas.openxmlformats.org/officeDocument/2006/relationships/image" Target="../media/image31.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38" Type="http://schemas.openxmlformats.org/officeDocument/2006/relationships/image" Target="../media/image35.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41" Type="http://schemas.openxmlformats.org/officeDocument/2006/relationships/image" Target="../media/image38.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37" Type="http://schemas.openxmlformats.org/officeDocument/2006/relationships/image" Target="../media/image34.png"/><Relationship Id="rId40" Type="http://schemas.openxmlformats.org/officeDocument/2006/relationships/image" Target="../media/image37.png"/><Relationship Id="rId5" Type="http://schemas.openxmlformats.org/officeDocument/2006/relationships/image" Target="../media/image4.png"/><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36" Type="http://schemas.openxmlformats.org/officeDocument/2006/relationships/image" Target="../media/image33.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 Id="rId35"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8"/>
          <a:stretch>
            <a:fillRect/>
          </a:stretch>
        </p:blipFill>
        <p:spPr>
          <a:xfrm>
            <a:off x="450679" y="9181790"/>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9"/>
          <a:stretch>
            <a:fillRect/>
          </a:stretch>
        </p:blipFill>
        <p:spPr>
          <a:xfrm>
            <a:off x="3912549" y="7550687"/>
            <a:ext cx="649114" cy="649114"/>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0"/>
          <a:stretch>
            <a:fillRect/>
          </a:stretch>
        </p:blipFill>
        <p:spPr>
          <a:xfrm>
            <a:off x="2809931" y="8840646"/>
            <a:ext cx="443259" cy="443259"/>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1"/>
          <a:stretch>
            <a:fillRect/>
          </a:stretch>
        </p:blipFill>
        <p:spPr>
          <a:xfrm>
            <a:off x="5163431" y="9388171"/>
            <a:ext cx="674164" cy="379217"/>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2"/>
          <a:stretch>
            <a:fillRect/>
          </a:stretch>
        </p:blipFill>
        <p:spPr>
          <a:xfrm>
            <a:off x="4035181" y="8836188"/>
            <a:ext cx="655785" cy="452174"/>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75185" cy="215444"/>
          </a:xfrm>
          <a:prstGeom prst="rect">
            <a:avLst/>
          </a:prstGeom>
          <a:noFill/>
        </p:spPr>
        <p:txBody>
          <a:bodyPr wrap="none" rtlCol="0">
            <a:spAutoFit/>
          </a:bodyPr>
          <a:lstStyle/>
          <a:p>
            <a:r>
              <a:rPr lang="de-DE" sz="800" dirty="0">
                <a:latin typeface="FlexoSoft Light" panose="02000000000000000000" pitchFamily="2" charset="0"/>
              </a:rPr>
              <a:t>27.07.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3"/>
          <a:stretch>
            <a:fillRect/>
          </a:stretch>
        </p:blipFill>
        <p:spPr>
          <a:xfrm>
            <a:off x="3944017" y="8405464"/>
            <a:ext cx="971688" cy="546574"/>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4"/>
          <a:stretch>
            <a:fillRect/>
          </a:stretch>
        </p:blipFill>
        <p:spPr>
          <a:xfrm>
            <a:off x="2087991" y="8449905"/>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5"/>
          <a:stretch>
            <a:fillRect/>
          </a:stretch>
        </p:blipFill>
        <p:spPr>
          <a:xfrm>
            <a:off x="5766391" y="8962887"/>
            <a:ext cx="813177" cy="198777"/>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6"/>
          <a:stretch>
            <a:fillRect/>
          </a:stretch>
        </p:blipFill>
        <p:spPr>
          <a:xfrm>
            <a:off x="1184040" y="8136547"/>
            <a:ext cx="293100" cy="317345"/>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7"/>
          <a:stretch>
            <a:fillRect/>
          </a:stretch>
        </p:blipFill>
        <p:spPr>
          <a:xfrm>
            <a:off x="3448098" y="8866188"/>
            <a:ext cx="392175" cy="392175"/>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8"/>
          <a:stretch>
            <a:fillRect/>
          </a:stretch>
        </p:blipFill>
        <p:spPr>
          <a:xfrm>
            <a:off x="2628302" y="9331425"/>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19"/>
          <a:stretch>
            <a:fillRect/>
          </a:stretch>
        </p:blipFill>
        <p:spPr>
          <a:xfrm>
            <a:off x="5781661" y="7949276"/>
            <a:ext cx="1039405" cy="691886"/>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0"/>
          <a:stretch>
            <a:fillRect/>
          </a:stretch>
        </p:blipFill>
        <p:spPr>
          <a:xfrm>
            <a:off x="1070652" y="8361955"/>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1"/>
          <a:stretch>
            <a:fillRect/>
          </a:stretch>
        </p:blipFill>
        <p:spPr>
          <a:xfrm>
            <a:off x="1003702" y="9004100"/>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2"/>
          <a:stretch>
            <a:fillRect/>
          </a:stretch>
        </p:blipFill>
        <p:spPr>
          <a:xfrm>
            <a:off x="5372967" y="7594218"/>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3"/>
          <a:stretch>
            <a:fillRect/>
          </a:stretch>
        </p:blipFill>
        <p:spPr>
          <a:xfrm>
            <a:off x="4257686" y="9429333"/>
            <a:ext cx="882745" cy="296892"/>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4"/>
          <a:stretch>
            <a:fillRect/>
          </a:stretch>
        </p:blipFill>
        <p:spPr>
          <a:xfrm>
            <a:off x="2541093" y="8181577"/>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0088" t="22838" r="13692" b="27205"/>
          <a:stretch/>
        </p:blipFill>
        <p:spPr bwMode="auto">
          <a:xfrm>
            <a:off x="373710" y="8919934"/>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6"/>
          <a:stretch>
            <a:fillRect/>
          </a:stretch>
        </p:blipFill>
        <p:spPr>
          <a:xfrm>
            <a:off x="421043" y="8560569"/>
            <a:ext cx="582659" cy="236365"/>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7"/>
          <a:stretch>
            <a:fillRect/>
          </a:stretch>
        </p:blipFill>
        <p:spPr>
          <a:xfrm>
            <a:off x="3840847" y="8203189"/>
            <a:ext cx="1039405" cy="184061"/>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8"/>
          <a:stretch>
            <a:fillRect/>
          </a:stretch>
        </p:blipFill>
        <p:spPr>
          <a:xfrm>
            <a:off x="1606205" y="8944850"/>
            <a:ext cx="1008818" cy="234850"/>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29"/>
          <a:stretch>
            <a:fillRect/>
          </a:stretch>
        </p:blipFill>
        <p:spPr>
          <a:xfrm>
            <a:off x="2992183" y="8525137"/>
            <a:ext cx="884884" cy="307228"/>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30"/>
          <a:stretch>
            <a:fillRect/>
          </a:stretch>
        </p:blipFill>
        <p:spPr>
          <a:xfrm>
            <a:off x="1550606" y="7732193"/>
            <a:ext cx="1085207" cy="286102"/>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1"/>
          <a:stretch>
            <a:fillRect/>
          </a:stretch>
        </p:blipFill>
        <p:spPr>
          <a:xfrm>
            <a:off x="2720492" y="7737894"/>
            <a:ext cx="1259778" cy="274701"/>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32"/>
          <a:stretch>
            <a:fillRect/>
          </a:stretch>
        </p:blipFill>
        <p:spPr>
          <a:xfrm>
            <a:off x="4982655" y="8271456"/>
            <a:ext cx="814590" cy="814590"/>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33"/>
          <a:stretch>
            <a:fillRect/>
          </a:stretch>
        </p:blipFill>
        <p:spPr>
          <a:xfrm>
            <a:off x="4465375" y="7652289"/>
            <a:ext cx="1103914" cy="445910"/>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34"/>
          <a:stretch>
            <a:fillRect/>
          </a:stretch>
        </p:blipFill>
        <p:spPr>
          <a:xfrm>
            <a:off x="418258" y="7769350"/>
            <a:ext cx="700990" cy="211788"/>
          </a:xfrm>
          <a:prstGeom prst="rect">
            <a:avLst/>
          </a:prstGeom>
        </p:spPr>
      </p:pic>
      <p:pic>
        <p:nvPicPr>
          <p:cNvPr id="57" name="Grafik 56">
            <a:extLst>
              <a:ext uri="{FF2B5EF4-FFF2-40B4-BE49-F238E27FC236}">
                <a16:creationId xmlns:a16="http://schemas.microsoft.com/office/drawing/2014/main" id="{16D1BF50-6315-4765-BBAF-E887F958B33D}"/>
              </a:ext>
            </a:extLst>
          </p:cNvPr>
          <p:cNvPicPr>
            <a:picLocks noChangeAspect="1"/>
          </p:cNvPicPr>
          <p:nvPr/>
        </p:nvPicPr>
        <p:blipFill>
          <a:blip r:embed="rId35"/>
          <a:stretch>
            <a:fillRect/>
          </a:stretch>
        </p:blipFill>
        <p:spPr>
          <a:xfrm>
            <a:off x="414664" y="8236173"/>
            <a:ext cx="676821" cy="118093"/>
          </a:xfrm>
          <a:prstGeom prst="rect">
            <a:avLst/>
          </a:prstGeom>
        </p:spPr>
      </p:pic>
      <p:pic>
        <p:nvPicPr>
          <p:cNvPr id="58" name="Grafik 57" descr="Ein Bild, das Text enthält.&#10;&#10;Automatisch generierte Beschreibung">
            <a:extLst>
              <a:ext uri="{FF2B5EF4-FFF2-40B4-BE49-F238E27FC236}">
                <a16:creationId xmlns:a16="http://schemas.microsoft.com/office/drawing/2014/main" id="{4659AFE2-680A-4CB2-827A-FFD2AD439B23}"/>
              </a:ext>
            </a:extLst>
          </p:cNvPr>
          <p:cNvPicPr>
            <a:picLocks noChangeAspect="1"/>
          </p:cNvPicPr>
          <p:nvPr/>
        </p:nvPicPr>
        <p:blipFill>
          <a:blip r:embed="rId36"/>
          <a:stretch>
            <a:fillRect/>
          </a:stretch>
        </p:blipFill>
        <p:spPr>
          <a:xfrm>
            <a:off x="5864195" y="8547508"/>
            <a:ext cx="715373" cy="262486"/>
          </a:xfrm>
          <a:prstGeom prst="rect">
            <a:avLst/>
          </a:prstGeom>
        </p:spPr>
      </p:pic>
      <p:pic>
        <p:nvPicPr>
          <p:cNvPr id="59" name="Grafik 58" descr="Ein Bild, das Text enthält.&#10;&#10;Automatisch generierte Beschreibung">
            <a:extLst>
              <a:ext uri="{FF2B5EF4-FFF2-40B4-BE49-F238E27FC236}">
                <a16:creationId xmlns:a16="http://schemas.microsoft.com/office/drawing/2014/main" id="{089C82E4-78AD-4275-B1B1-AA0A5CA49DAD}"/>
              </a:ext>
            </a:extLst>
          </p:cNvPr>
          <p:cNvPicPr>
            <a:picLocks noChangeAspect="1"/>
          </p:cNvPicPr>
          <p:nvPr/>
        </p:nvPicPr>
        <p:blipFill>
          <a:blip r:embed="rId37"/>
          <a:stretch>
            <a:fillRect/>
          </a:stretch>
        </p:blipFill>
        <p:spPr>
          <a:xfrm>
            <a:off x="4885874" y="8913829"/>
            <a:ext cx="685606" cy="296892"/>
          </a:xfrm>
          <a:prstGeom prst="rect">
            <a:avLst/>
          </a:prstGeom>
        </p:spPr>
      </p:pic>
      <p:pic>
        <p:nvPicPr>
          <p:cNvPr id="60" name="Grafik 59">
            <a:extLst>
              <a:ext uri="{FF2B5EF4-FFF2-40B4-BE49-F238E27FC236}">
                <a16:creationId xmlns:a16="http://schemas.microsoft.com/office/drawing/2014/main" id="{E9B8CEF0-F6AF-49F4-B63D-6B7A61B9B85F}"/>
              </a:ext>
            </a:extLst>
          </p:cNvPr>
          <p:cNvPicPr>
            <a:picLocks noChangeAspect="1"/>
          </p:cNvPicPr>
          <p:nvPr/>
        </p:nvPicPr>
        <p:blipFill>
          <a:blip r:embed="rId38"/>
          <a:stretch>
            <a:fillRect/>
          </a:stretch>
        </p:blipFill>
        <p:spPr>
          <a:xfrm>
            <a:off x="5903456" y="9392528"/>
            <a:ext cx="728229" cy="370503"/>
          </a:xfrm>
          <a:prstGeom prst="rect">
            <a:avLst/>
          </a:prstGeom>
        </p:spPr>
      </p:pic>
      <p:pic>
        <p:nvPicPr>
          <p:cNvPr id="8" name="Grafik 7">
            <a:extLst>
              <a:ext uri="{FF2B5EF4-FFF2-40B4-BE49-F238E27FC236}">
                <a16:creationId xmlns:a16="http://schemas.microsoft.com/office/drawing/2014/main" id="{57028D8E-9C3A-470E-B249-0D059513EEE2}"/>
              </a:ext>
            </a:extLst>
          </p:cNvPr>
          <p:cNvPicPr>
            <a:picLocks noChangeAspect="1"/>
          </p:cNvPicPr>
          <p:nvPr/>
        </p:nvPicPr>
        <p:blipFill>
          <a:blip r:embed="rId39"/>
          <a:stretch>
            <a:fillRect/>
          </a:stretch>
        </p:blipFill>
        <p:spPr>
          <a:xfrm>
            <a:off x="1151547" y="7694242"/>
            <a:ext cx="362005" cy="362005"/>
          </a:xfrm>
          <a:prstGeom prst="rect">
            <a:avLst/>
          </a:prstGeom>
        </p:spPr>
      </p:pic>
      <p:pic>
        <p:nvPicPr>
          <p:cNvPr id="55" name="Grafik 54">
            <a:extLst>
              <a:ext uri="{FF2B5EF4-FFF2-40B4-BE49-F238E27FC236}">
                <a16:creationId xmlns:a16="http://schemas.microsoft.com/office/drawing/2014/main" id="{37F213E2-E7FA-47E1-AB99-62DD5CAD107C}"/>
              </a:ext>
            </a:extLst>
          </p:cNvPr>
          <p:cNvPicPr>
            <a:picLocks noChangeAspect="1"/>
          </p:cNvPicPr>
          <p:nvPr/>
        </p:nvPicPr>
        <p:blipFill>
          <a:blip r:embed="rId40"/>
          <a:stretch>
            <a:fillRect/>
          </a:stretch>
        </p:blipFill>
        <p:spPr>
          <a:xfrm>
            <a:off x="1569695" y="8098574"/>
            <a:ext cx="878843" cy="393291"/>
          </a:xfrm>
          <a:prstGeom prst="rect">
            <a:avLst/>
          </a:prstGeom>
        </p:spPr>
      </p:pic>
      <p:pic>
        <p:nvPicPr>
          <p:cNvPr id="56" name="Grafik 55" descr="Ein Bild, das Text, ClipArt enthält.&#10;&#10;Automatisch generierte Beschreibung">
            <a:extLst>
              <a:ext uri="{FF2B5EF4-FFF2-40B4-BE49-F238E27FC236}">
                <a16:creationId xmlns:a16="http://schemas.microsoft.com/office/drawing/2014/main" id="{33143BD9-69CF-46DF-9959-357A92990F1C}"/>
              </a:ext>
            </a:extLst>
          </p:cNvPr>
          <p:cNvPicPr>
            <a:picLocks noChangeAspect="1"/>
          </p:cNvPicPr>
          <p:nvPr/>
        </p:nvPicPr>
        <p:blipFill>
          <a:blip r:embed="rId41"/>
          <a:stretch>
            <a:fillRect/>
          </a:stretch>
        </p:blipFill>
        <p:spPr>
          <a:xfrm>
            <a:off x="5049009" y="8232549"/>
            <a:ext cx="802029" cy="125341"/>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Wingdings</vt:lpstr>
      <vt:lpstr>Wingdings 2</vt:lpstr>
      <vt:lpstr>FlexoSoft Light</vt:lpstr>
      <vt:lpstr>FlexoSoft</vt:lpstr>
      <vt:lpstr>Arial</vt:lpstr>
      <vt:lpstr>Calibri</vt:lpstr>
      <vt:lpstr>FlexoSoft DemiBold</vt:lpstr>
      <vt:lpstr>FlexoSoft Medium</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7-27T12:5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